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1428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oject Timeline" id="{F01D5BB6-0329-4DAD-878F-5C5D58B4A61F}">
          <p14:sldIdLst>
            <p14:sldId id="142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31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DD416-D9B7-6313-5D14-C90F1EC714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B635D8-8C21-A431-379F-885BE772F7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C9F824-DB43-4C49-54DE-8367816B31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6AA36-7B1D-40C8-A361-758FAB8660C4}" type="datetimeFigureOut">
              <a:rPr lang="en-AU" smtClean="0"/>
              <a:t>7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9FE047-9FCE-DA01-8B5C-6383338986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2909DF-BD7C-AF4F-44E0-EB9DC6D963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C7D86-72F3-4944-A416-27486F0016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536402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DB951E-2C8F-D4B1-54A4-C1C8AF049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56D7548-D006-89CF-3BF8-42FD4DF9C0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1B3395-FB82-BD8E-3A13-17C193D63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6AA36-7B1D-40C8-A361-758FAB8660C4}" type="datetimeFigureOut">
              <a:rPr lang="en-AU" smtClean="0"/>
              <a:t>7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F0D64F-0DA4-18CA-1472-0BD49E6AF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3FDD77-D1E0-03C0-EA3A-8EA70D50FA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C7D86-72F3-4944-A416-27486F0016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009228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EA1FB29-46C2-6E22-3B07-6E69447B20E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E11488E-8AB4-D11F-CA19-B2F8A435B5B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C2D84F-0FAF-2F70-CE8D-66DB8075D7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6AA36-7B1D-40C8-A361-758FAB8660C4}" type="datetimeFigureOut">
              <a:rPr lang="en-AU" smtClean="0"/>
              <a:t>7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2ACFC8-4331-E81C-1A4F-880E5E3B90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91ED10-49C6-3A35-7156-6C8D4675D2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C7D86-72F3-4944-A416-27486F0016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020347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53F3E13-8173-4B4E-B1C5-CAD825C2A6E9}"/>
              </a:ext>
            </a:extLst>
          </p:cNvPr>
          <p:cNvSpPr/>
          <p:nvPr/>
        </p:nvSpPr>
        <p:spPr>
          <a:xfrm>
            <a:off x="0" y="6290446"/>
            <a:ext cx="12192000" cy="56755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0"/>
          </a:p>
        </p:txBody>
      </p:sp>
      <p:sp>
        <p:nvSpPr>
          <p:cNvPr id="2" name="btfpLayoutConfig" hidden="1"/>
          <p:cNvSpPr txBox="1"/>
          <p:nvPr/>
        </p:nvSpPr>
        <p:spPr>
          <a:xfrm>
            <a:off x="12700" y="12700"/>
            <a:ext cx="8890000" cy="127000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0" indent="-185746" algn="l"/>
            <a:r>
              <a:rPr lang="en-AU" sz="100">
                <a:solidFill>
                  <a:srgbClr val="FFFFFF">
                    <a:alpha val="0"/>
                  </a:srgbClr>
                </a:solidFill>
              </a:rPr>
              <a:t>overall_0_132520750887782710 columns_1_132520750887782710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0701CF0-5A34-40E5-ADFF-57C48D8E121E}"/>
              </a:ext>
            </a:extLst>
          </p:cNvPr>
          <p:cNvSpPr/>
          <p:nvPr/>
        </p:nvSpPr>
        <p:spPr>
          <a:xfrm>
            <a:off x="11077575" y="0"/>
            <a:ext cx="1114425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2DE96F9-2022-40BE-970F-3B1BB85F8E41}"/>
              </a:ext>
            </a:extLst>
          </p:cNvPr>
          <p:cNvSpPr/>
          <p:nvPr/>
        </p:nvSpPr>
        <p:spPr>
          <a:xfrm>
            <a:off x="482600" y="1196975"/>
            <a:ext cx="1408404" cy="8495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05638E0-2534-B34E-8577-5AD050DFED7A}"/>
              </a:ext>
            </a:extLst>
          </p:cNvPr>
          <p:cNvSpPr/>
          <p:nvPr userDrawn="1"/>
        </p:nvSpPr>
        <p:spPr>
          <a:xfrm>
            <a:off x="0" y="6290446"/>
            <a:ext cx="12192000" cy="56755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0"/>
          </a:p>
        </p:txBody>
      </p:sp>
      <p:sp>
        <p:nvSpPr>
          <p:cNvPr id="7" name="btfpLayoutConfig" hidden="1">
            <a:extLst>
              <a:ext uri="{FF2B5EF4-FFF2-40B4-BE49-F238E27FC236}">
                <a16:creationId xmlns:a16="http://schemas.microsoft.com/office/drawing/2014/main" id="{553E83EC-A1D4-8C4F-B0EF-299531BBE19A}"/>
              </a:ext>
            </a:extLst>
          </p:cNvPr>
          <p:cNvSpPr txBox="1"/>
          <p:nvPr userDrawn="1"/>
        </p:nvSpPr>
        <p:spPr>
          <a:xfrm>
            <a:off x="12700" y="12700"/>
            <a:ext cx="8890000" cy="127000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0" indent="-185746" algn="l"/>
            <a:r>
              <a:rPr lang="en-AU" sz="100">
                <a:solidFill>
                  <a:srgbClr val="FFFFFF">
                    <a:alpha val="0"/>
                  </a:srgbClr>
                </a:solidFill>
              </a:rPr>
              <a:t>overall_0_132520750887782710 columns_1_132520750887782710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4AC3E03-ADE7-0E4E-B469-D2AA89780DE5}"/>
              </a:ext>
            </a:extLst>
          </p:cNvPr>
          <p:cNvSpPr/>
          <p:nvPr userDrawn="1"/>
        </p:nvSpPr>
        <p:spPr>
          <a:xfrm>
            <a:off x="11077575" y="0"/>
            <a:ext cx="1114425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CB2BBC6-2F46-9942-90A0-57C38CABD4A7}"/>
              </a:ext>
            </a:extLst>
          </p:cNvPr>
          <p:cNvSpPr/>
          <p:nvPr userDrawn="1"/>
        </p:nvSpPr>
        <p:spPr>
          <a:xfrm>
            <a:off x="482600" y="1196975"/>
            <a:ext cx="1408404" cy="8495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E644510-7C77-C7FA-D96F-E1E525A4253A}"/>
              </a:ext>
            </a:extLst>
          </p:cNvPr>
          <p:cNvSpPr txBox="1">
            <a:spLocks/>
          </p:cNvSpPr>
          <p:nvPr userDrawn="1"/>
        </p:nvSpPr>
        <p:spPr>
          <a:xfrm>
            <a:off x="11452585" y="6447149"/>
            <a:ext cx="380281" cy="284280"/>
          </a:xfrm>
          <a:prstGeom prst="rect">
            <a:avLst/>
          </a:prstGeom>
        </p:spPr>
        <p:txBody>
          <a:bodyPr vert="horz" lIns="74295" tIns="37148" rIns="74295" bIns="37148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B4B9DDA5-403B-4952-A019-02E5B2AC335B}" type="slidenum">
              <a:rPr lang="en-AU" sz="1100" b="0" i="0" smtClean="0">
                <a:solidFill>
                  <a:schemeClr val="tx1"/>
                </a:solidFill>
                <a:latin typeface="+mj-lt"/>
              </a:rPr>
              <a:pPr algn="ctr"/>
              <a:t>‹#›</a:t>
            </a:fld>
            <a:endParaRPr lang="en-AU" sz="1100" b="0" i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991C34C-F4C9-A84C-D3E5-76A7CD092E96}"/>
              </a:ext>
            </a:extLst>
          </p:cNvPr>
          <p:cNvCxnSpPr>
            <a:cxnSpLocks/>
          </p:cNvCxnSpPr>
          <p:nvPr userDrawn="1"/>
        </p:nvCxnSpPr>
        <p:spPr>
          <a:xfrm>
            <a:off x="5966547" y="6589289"/>
            <a:ext cx="54165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623D853-CE67-7408-78B9-D3BEFF4A60B0}"/>
              </a:ext>
            </a:extLst>
          </p:cNvPr>
          <p:cNvCxnSpPr/>
          <p:nvPr userDrawn="1"/>
        </p:nvCxnSpPr>
        <p:spPr>
          <a:xfrm>
            <a:off x="579088" y="1499054"/>
            <a:ext cx="540451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84946A78-F0DF-5314-6F6C-6909CBD72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44500"/>
            <a:ext cx="11233149" cy="896937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lvl="0"/>
            <a:r>
              <a:rPr lang="en-GB"/>
              <a:t>Click to edit Master title style</a:t>
            </a:r>
            <a:endParaRPr lang="en-AU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D09254-7A2B-4BDD-D74A-9C7018C56E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0997" y="1650999"/>
            <a:ext cx="11231580" cy="45594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72056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04">
          <p15:clr>
            <a:srgbClr val="CCCCCC"/>
          </p15:clr>
        </p15:guide>
        <p15:guide id="4" pos="7376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EE6CB1-EF1E-6807-BA24-4AB912A33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3D4EAD-1273-F5AC-8DEA-1DE207363F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363FA0-0758-161B-CF43-F621E83299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6AA36-7B1D-40C8-A361-758FAB8660C4}" type="datetimeFigureOut">
              <a:rPr lang="en-AU" smtClean="0"/>
              <a:t>7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8934EB-5036-8C47-CA49-47CD15922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E37B4B-DF9A-9621-569D-4FE70FC22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C7D86-72F3-4944-A416-27486F0016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130904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337AF1-31C4-F392-B363-34AB0BE1D6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5EF73E-6098-5556-5770-AFA277D947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A2F285-0E2E-772A-680D-F2298AD664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6AA36-7B1D-40C8-A361-758FAB8660C4}" type="datetimeFigureOut">
              <a:rPr lang="en-AU" smtClean="0"/>
              <a:t>7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60BEF0-9C05-6CE2-86FD-E3B072A520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BEDBF2-EFA6-9FC5-C3F6-12B2B7A12F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C7D86-72F3-4944-A416-27486F0016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971967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88C29-93D1-73CB-90CF-97F82E26D6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2F0477-7ABE-4DCE-177F-61C75DCE27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A25A864-E359-38C1-7E28-8ADB6FC294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2C80E44-7CB3-5B65-CB83-9D9341ED69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6AA36-7B1D-40C8-A361-758FAB8660C4}" type="datetimeFigureOut">
              <a:rPr lang="en-AU" smtClean="0"/>
              <a:t>7/08/2024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289254-D361-F836-ED43-091BDC12E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5C0311-1F74-BEA9-4201-4D859B9768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C7D86-72F3-4944-A416-27486F0016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675392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AA3BE6-CF5F-7489-038D-110B7908C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52C5D8-C327-165B-87EE-5EFA06F783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B74E797-1892-C75B-E983-9B654340F48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89996D-FEFF-93AB-EC17-976F1B5FD8F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5585A7-843F-AE37-39EF-2D8D477A34D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951CA3D-BC92-630F-C02A-2EA87B968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6AA36-7B1D-40C8-A361-758FAB8660C4}" type="datetimeFigureOut">
              <a:rPr lang="en-AU" smtClean="0"/>
              <a:t>7/08/2024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CF2A4B1-96C7-1829-56B4-1AAB137AC3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E582FD8-3AC9-F014-CC38-9428660D54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C7D86-72F3-4944-A416-27486F0016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782823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44FCE5-B176-27A8-422F-94F2AE72D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9EE174-6404-36E4-FEF8-FE62512BA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6AA36-7B1D-40C8-A361-758FAB8660C4}" type="datetimeFigureOut">
              <a:rPr lang="en-AU" smtClean="0"/>
              <a:t>7/08/2024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2136B7-5A50-EB77-3FF4-CCE224D591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1A2A1E-E00A-B842-2863-2D99259776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C7D86-72F3-4944-A416-27486F0016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569848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6C92C91-504A-6417-A980-02389F8B86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6AA36-7B1D-40C8-A361-758FAB8660C4}" type="datetimeFigureOut">
              <a:rPr lang="en-AU" smtClean="0"/>
              <a:t>7/08/2024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B7A104-522C-A286-51BF-5616C8E4C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B416C3-EC05-5109-DC0B-E1A14F708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C7D86-72F3-4944-A416-27486F0016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97956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7E5AF3-A81E-7CC3-1D21-11F355F1C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C4559C-7C4E-2B2B-18BF-D88D244381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0D04B-D9F5-D8B1-B7AB-C9FA4EF8D2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10B3FA-8243-07C1-A023-615E442E5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6AA36-7B1D-40C8-A361-758FAB8660C4}" type="datetimeFigureOut">
              <a:rPr lang="en-AU" smtClean="0"/>
              <a:t>7/08/2024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51B1E9-2A6B-FA0B-BFF8-6846D1893D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27DD86-8AFF-1C30-38CB-36AA8B7D45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C7D86-72F3-4944-A416-27486F0016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823963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E9E6E8-2F4A-09AF-0611-1BCA5D27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094F3E-5941-F84D-D351-366C06715A9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D89738-F4FF-ED6F-A57A-8EFAC8C45C0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BBB0D7-5237-C614-3A2A-DDC3FC8BFD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6AA36-7B1D-40C8-A361-758FAB8660C4}" type="datetimeFigureOut">
              <a:rPr lang="en-AU" smtClean="0"/>
              <a:t>7/08/2024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B8DFB64-DE39-CAB1-4C8B-49249E30B7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F9293D4-3225-09DE-49B3-AAD465A9D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C7D86-72F3-4944-A416-27486F0016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567012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171768B-C90D-21E5-85AD-F406F7AF1F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25195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606" imgH="608" progId="TCLayout.ActiveDocument.1">
                  <p:embed/>
                </p:oleObj>
              </mc:Choice>
              <mc:Fallback>
                <p:oleObj name="think-cell Slide" r:id="rId15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EFE2756-5CD0-E468-C65E-BDFAB57143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23B09F-DE8A-A99B-A655-BC3D7C4DA2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5228A3-3DC2-8009-93A8-2A2645377E4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B06AA36-7B1D-40C8-A361-758FAB8660C4}" type="datetimeFigureOut">
              <a:rPr lang="en-AU" smtClean="0"/>
              <a:t>7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BB16D2-BC95-F151-0EBF-4D18A6BA66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5ABB91-4499-AD3B-7726-8572C09D88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01C7D86-72F3-4944-A416-27486F0016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89338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28.xml"/><Relationship Id="rId21" Type="http://schemas.openxmlformats.org/officeDocument/2006/relationships/tags" Target="../tags/tag23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63" Type="http://schemas.openxmlformats.org/officeDocument/2006/relationships/tags" Target="../tags/tag65.xml"/><Relationship Id="rId68" Type="http://schemas.openxmlformats.org/officeDocument/2006/relationships/tags" Target="../tags/tag70.xml"/><Relationship Id="rId16" Type="http://schemas.openxmlformats.org/officeDocument/2006/relationships/tags" Target="../tags/tag1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66" Type="http://schemas.openxmlformats.org/officeDocument/2006/relationships/tags" Target="../tags/tag68.xml"/><Relationship Id="rId74" Type="http://schemas.openxmlformats.org/officeDocument/2006/relationships/tags" Target="../tags/tag76.xml"/><Relationship Id="rId79" Type="http://schemas.openxmlformats.org/officeDocument/2006/relationships/oleObject" Target="../embeddings/oleObject2.bin"/><Relationship Id="rId5" Type="http://schemas.openxmlformats.org/officeDocument/2006/relationships/tags" Target="../tags/tag7.xml"/><Relationship Id="rId61" Type="http://schemas.openxmlformats.org/officeDocument/2006/relationships/tags" Target="../tags/tag63.xml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tags" Target="../tags/tag58.xml"/><Relationship Id="rId64" Type="http://schemas.openxmlformats.org/officeDocument/2006/relationships/tags" Target="../tags/tag66.xml"/><Relationship Id="rId69" Type="http://schemas.openxmlformats.org/officeDocument/2006/relationships/tags" Target="../tags/tag71.xml"/><Relationship Id="rId77" Type="http://schemas.openxmlformats.org/officeDocument/2006/relationships/tags" Target="../tags/tag79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80" Type="http://schemas.openxmlformats.org/officeDocument/2006/relationships/image" Target="../media/image1.emf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tags" Target="../tags/tag61.xml"/><Relationship Id="rId67" Type="http://schemas.openxmlformats.org/officeDocument/2006/relationships/tags" Target="../tags/tag69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62" Type="http://schemas.openxmlformats.org/officeDocument/2006/relationships/tags" Target="../tags/tag64.xml"/><Relationship Id="rId70" Type="http://schemas.openxmlformats.org/officeDocument/2006/relationships/tags" Target="../tags/tag72.xml"/><Relationship Id="rId75" Type="http://schemas.openxmlformats.org/officeDocument/2006/relationships/tags" Target="../tags/tag77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tags" Target="../tags/tag59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73" Type="http://schemas.openxmlformats.org/officeDocument/2006/relationships/tags" Target="../tags/tag75.xml"/><Relationship Id="rId78" Type="http://schemas.openxmlformats.org/officeDocument/2006/relationships/slideLayout" Target="../slideLayouts/slideLayout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34" Type="http://schemas.openxmlformats.org/officeDocument/2006/relationships/tags" Target="../tags/tag36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6" Type="http://schemas.openxmlformats.org/officeDocument/2006/relationships/tags" Target="../tags/tag78.xml"/><Relationship Id="rId7" Type="http://schemas.openxmlformats.org/officeDocument/2006/relationships/tags" Target="../tags/tag9.xml"/><Relationship Id="rId71" Type="http://schemas.openxmlformats.org/officeDocument/2006/relationships/tags" Target="../tags/tag73.xml"/><Relationship Id="rId2" Type="http://schemas.openxmlformats.org/officeDocument/2006/relationships/tags" Target="../tags/tag4.xml"/><Relationship Id="rId29" Type="http://schemas.openxmlformats.org/officeDocument/2006/relationships/tags" Target="../tags/tag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think-cell data - do not delete" hidden="1">
            <a:extLst>
              <a:ext uri="{FF2B5EF4-FFF2-40B4-BE49-F238E27FC236}">
                <a16:creationId xmlns:a16="http://schemas.microsoft.com/office/drawing/2014/main" id="{D765E2CF-3024-14F9-D527-C486D64E8B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0013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9" imgW="606" imgH="608" progId="TCLayout.ActiveDocument.1">
                  <p:embed/>
                </p:oleObj>
              </mc:Choice>
              <mc:Fallback>
                <p:oleObj name="think-cell Slide" r:id="rId79" imgW="606" imgH="608" progId="TCLayout.ActiveDocument.1">
                  <p:embed/>
                  <p:pic>
                    <p:nvPicPr>
                      <p:cNvPr id="4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65E2CF-3024-14F9-D527-C486D64E8B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A3173D-0977-5334-834F-D7E2A4369711}"/>
              </a:ext>
            </a:extLst>
          </p:cNvPr>
          <p:cNvSpPr txBox="1">
            <a:spLocks/>
          </p:cNvSpPr>
          <p:nvPr/>
        </p:nvSpPr>
        <p:spPr>
          <a:xfrm>
            <a:off x="479426" y="444500"/>
            <a:ext cx="11233149" cy="896937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>
            <a:lvl1pPr algn="l" defTabSz="7430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AU" sz="3200" b="1" i="0" kern="1200" dirty="0">
                <a:solidFill>
                  <a:srgbClr val="1B325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Project Timeline</a:t>
            </a:r>
          </a:p>
        </p:txBody>
      </p:sp>
      <p:sp>
        <p:nvSpPr>
          <p:cNvPr id="324" name="Rectangle 323">
            <a:extLst>
              <a:ext uri="{FF2B5EF4-FFF2-40B4-BE49-F238E27FC236}">
                <a16:creationId xmlns:a16="http://schemas.microsoft.com/office/drawing/2014/main" id="{D44762DD-65A2-D4AD-42CB-D987B6810E4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747713" y="1893889"/>
            <a:ext cx="10964863" cy="468313"/>
          </a:xfrm>
          <a:prstGeom prst="rect">
            <a:avLst/>
          </a:prstGeom>
          <a:solidFill>
            <a:schemeClr val="hlink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64" name="Rectangle 363">
            <a:extLst>
              <a:ext uri="{FF2B5EF4-FFF2-40B4-BE49-F238E27FC236}">
                <a16:creationId xmlns:a16="http://schemas.microsoft.com/office/drawing/2014/main" id="{6B46CD1A-1673-0C66-C1FB-049760723F4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47713" y="3255963"/>
            <a:ext cx="10964863" cy="633413"/>
          </a:xfrm>
          <a:prstGeom prst="rect">
            <a:avLst/>
          </a:prstGeom>
          <a:solidFill>
            <a:schemeClr val="hlink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28" name="Rectangle 327">
            <a:extLst>
              <a:ext uri="{FF2B5EF4-FFF2-40B4-BE49-F238E27FC236}">
                <a16:creationId xmlns:a16="http://schemas.microsoft.com/office/drawing/2014/main" id="{707813BF-91E3-D129-F137-A4D8B18AC4C1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47713" y="5297488"/>
            <a:ext cx="10964863" cy="469900"/>
          </a:xfrm>
          <a:prstGeom prst="rect">
            <a:avLst/>
          </a:prstGeom>
          <a:solidFill>
            <a:schemeClr val="hlink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5B9E6117-7C14-B670-27DF-939E50C0ED0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216400" y="1481138"/>
            <a:ext cx="1949450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03D462-6F51-407C-9B9C-A7E7755D8686}" type="datetime'''''''''A''''''u''''''g''u''st''''''''''''''''''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August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AB2D028E-8A10-A437-510E-9FE6E496DEA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165850" y="1481138"/>
            <a:ext cx="1949450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08F4F9B-ACFF-4700-8906-DEE8C373EB1C}" type="datetime'Se''''p''''t''''''''''''''e''''''''''''mb''''e''''r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September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2F96535F-D6DC-DBC6-75FB-E17A4947959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115300" y="1481138"/>
            <a:ext cx="1298575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38DB314-103C-4343-A279-62ECE105FD46}" type="datetime'''''''''''''O''ct''''''''''''''o''b''e''''''r''''''''''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October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8C325AAC-1F12-ABF6-0D0A-710942B8CF1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216400" y="1687513"/>
            <a:ext cx="92075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87" name="Text Placeholder 2">
            <a:extLst>
              <a:ext uri="{FF2B5EF4-FFF2-40B4-BE49-F238E27FC236}">
                <a16:creationId xmlns:a16="http://schemas.microsoft.com/office/drawing/2014/main" id="{98BE9ACA-537A-57F9-ECBB-E4FD9D666D4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308475" y="1687513"/>
            <a:ext cx="465138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96C748-0E2F-4DEB-8274-A35FFA729A3E}" type="datetime'''3''''''''''''''''''2''''''''''''''''''''''''''''''''''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32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05E96274-5E4B-3ABB-9528-28B53BEE9D4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773613" y="1687513"/>
            <a:ext cx="463550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AED1C1D-5CE0-4100-B6E1-2EDA10202D61}" type="datetime'''''''''''''3''''''''''''''''''''''''''''''3''''''''''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33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B4A91B1F-601B-8C05-C7C8-9DE68C6F436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237163" y="1687513"/>
            <a:ext cx="463550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993AD3D-A792-417A-A4BB-98DB0BEF5CBB}" type="datetime'''''''''''''''''''''''''''''''3''''''''''''4''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34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A771D7F3-CB02-FC8F-0F4A-FD2393D054B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700713" y="1687513"/>
            <a:ext cx="465138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A1A238-0A36-41B5-A609-86B3529BF2D7}" type="datetime'''''''''''''''''''''''''3''5''''''''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35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92" name="Text Placeholder 2">
            <a:extLst>
              <a:ext uri="{FF2B5EF4-FFF2-40B4-BE49-F238E27FC236}">
                <a16:creationId xmlns:a16="http://schemas.microsoft.com/office/drawing/2014/main" id="{249B8BC6-CAC4-DAB9-FFD6-B0C17C4F2C6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165850" y="1687513"/>
            <a:ext cx="463550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39BCB7A-FFB1-491F-87EE-27CC1263558C}" type="datetime'''''''''''''''''''3''''''''6''''''''''''''''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36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741DF867-8219-2DA5-9936-0E22B66B1A6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629400" y="1687513"/>
            <a:ext cx="463550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295A51B-61C4-4389-A828-866CB54385D6}" type="datetime'''''''''''''''''''''''''3''''''''''''''''7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37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00895D15-465A-94B3-A26D-DAE6396A4BB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092950" y="1687513"/>
            <a:ext cx="465138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016AD6B-869B-4895-B702-35D5818BCFFE}" type="datetime'''''''''''''''3''8''''''''''''''''''''''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38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95" name="Text Placeholder 2">
            <a:extLst>
              <a:ext uri="{FF2B5EF4-FFF2-40B4-BE49-F238E27FC236}">
                <a16:creationId xmlns:a16="http://schemas.microsoft.com/office/drawing/2014/main" id="{60AF51FC-C1FC-8577-6027-572BD7CFB2D3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558088" y="1687513"/>
            <a:ext cx="463550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74E0EA1-9B5D-4E9F-9785-857E1795CCF9}" type="datetime'''''''3''''''''''''''''''''''''''''''''''''9''''''''''''''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39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A272AB3C-EB20-2FF3-F202-752344483A3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021638" y="1687513"/>
            <a:ext cx="463550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B9229F8-4348-42A7-8C88-EF79B527DFA5}" type="datetime'''''''''''''''4''''''''0''''''''''''''''''''''''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40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97" name="Text Placeholder 2">
            <a:extLst>
              <a:ext uri="{FF2B5EF4-FFF2-40B4-BE49-F238E27FC236}">
                <a16:creationId xmlns:a16="http://schemas.microsoft.com/office/drawing/2014/main" id="{E31FEC6C-BF08-02B4-C5CF-7A6B9F742A9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485188" y="1687513"/>
            <a:ext cx="465138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76B926C-91BA-4BE3-BAF1-685FFF9A1D72}" type="datetime'''''''''''''''''''4''''''''''1''''''''''''''''''''''''''''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41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C47AE73E-CAF4-6FA8-9D23-5564D901538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950325" y="1687513"/>
            <a:ext cx="463550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32750E4-AFA3-4B1F-8B60-D9638EC37A07}" type="datetime'''''''''''''''''''''''''4''2''''''''''''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42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cxnSp>
        <p:nvCxnSpPr>
          <p:cNvPr id="251" name="Straight Connector 250">
            <a:extLst>
              <a:ext uri="{FF2B5EF4-FFF2-40B4-BE49-F238E27FC236}">
                <a16:creationId xmlns:a16="http://schemas.microsoft.com/office/drawing/2014/main" id="{01DE7043-4A6C-D496-01FC-2129228EEBEB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747713" y="1893887"/>
            <a:ext cx="0" cy="38735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36FC5A5-EB9B-C50E-064B-EEA368A14B62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9413875" y="1893887"/>
            <a:ext cx="0" cy="38735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79A6963-1077-ACAE-A0C5-8D5D6529BEF8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4216400" y="1893887"/>
            <a:ext cx="0" cy="38735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5EB593EC-EA81-2F47-A193-6AD15182DD76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8115300" y="1893887"/>
            <a:ext cx="0" cy="387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75AB3848-6785-3F21-E110-C246935375B1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6165850" y="1893887"/>
            <a:ext cx="0" cy="387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4" name="Straight Connector 253">
            <a:extLst>
              <a:ext uri="{FF2B5EF4-FFF2-40B4-BE49-F238E27FC236}">
                <a16:creationId xmlns:a16="http://schemas.microsoft.com/office/drawing/2014/main" id="{75FAE7D0-E82E-F78D-9137-73AFB0FECA7A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1712575" y="1893887"/>
            <a:ext cx="0" cy="38735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CB3A274C-7E2E-FAD0-A6BF-9CF9073D46E1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7558088" y="1893887"/>
            <a:ext cx="0" cy="387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597BAEBC-4E53-2F76-982E-2CC41EF2340E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8021638" y="1893887"/>
            <a:ext cx="0" cy="387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2F52918A-396A-552D-0E0A-69AFB0B7E328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8485188" y="1893887"/>
            <a:ext cx="0" cy="387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CCB784E4-4B30-7DC5-5DD9-68EA36225FA4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8950325" y="1893887"/>
            <a:ext cx="0" cy="387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4" name="Straight Connector 223">
            <a:extLst>
              <a:ext uri="{FF2B5EF4-FFF2-40B4-BE49-F238E27FC236}">
                <a16:creationId xmlns:a16="http://schemas.microsoft.com/office/drawing/2014/main" id="{EF8DA29E-340E-2386-1525-3EB4ABDF896D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4773613" y="1893887"/>
            <a:ext cx="0" cy="387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3" name="Straight Connector 222">
            <a:extLst>
              <a:ext uri="{FF2B5EF4-FFF2-40B4-BE49-F238E27FC236}">
                <a16:creationId xmlns:a16="http://schemas.microsoft.com/office/drawing/2014/main" id="{BA3DF9B1-6F7C-C740-4153-A3CB95063701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4308475" y="1893887"/>
            <a:ext cx="0" cy="387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5" name="Straight Connector 224">
            <a:extLst>
              <a:ext uri="{FF2B5EF4-FFF2-40B4-BE49-F238E27FC236}">
                <a16:creationId xmlns:a16="http://schemas.microsoft.com/office/drawing/2014/main" id="{1B4FB85F-C895-97DE-2799-E1C4EAF1CEAE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5237163" y="1893887"/>
            <a:ext cx="0" cy="387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FBAE6BD2-A3E3-2C61-AEFF-D96C0E0BFB17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5700713" y="1893887"/>
            <a:ext cx="0" cy="387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8B20C12F-3BB0-294F-9D0F-26F1F3DCF799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6629400" y="1893887"/>
            <a:ext cx="0" cy="387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A4B24F39-68CB-CE03-A65C-8C362D8338D5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7092950" y="1893887"/>
            <a:ext cx="0" cy="387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4" name="Straight Connector 383">
            <a:extLst>
              <a:ext uri="{FF2B5EF4-FFF2-40B4-BE49-F238E27FC236}">
                <a16:creationId xmlns:a16="http://schemas.microsoft.com/office/drawing/2014/main" id="{6A866FEC-A7FA-89DE-B3E4-76678A031E97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747713" y="3889375"/>
            <a:ext cx="10964862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8BE28152-6888-B419-44D2-0371D95D9CB8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747713" y="4359275"/>
            <a:ext cx="10964862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C070CBE-8BAA-0246-589D-DAAD05E9C724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747713" y="4829175"/>
            <a:ext cx="109648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552558B-3CA3-5CDB-90B5-D5231737560A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747713" y="5767388"/>
            <a:ext cx="10964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4389C3D-2064-28CD-5948-0F5934C0BD1B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747713" y="1893888"/>
            <a:ext cx="10964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4" name="Rectangle 343">
            <a:extLst>
              <a:ext uri="{FF2B5EF4-FFF2-40B4-BE49-F238E27FC236}">
                <a16:creationId xmlns:a16="http://schemas.microsoft.com/office/drawing/2014/main" id="{2C03210A-63E5-0E6C-1A3B-66ACAE0EE12A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4773614" y="2878138"/>
            <a:ext cx="371475" cy="98425"/>
          </a:xfrm>
          <a:prstGeom prst="rect">
            <a:avLst/>
          </a:prstGeom>
          <a:solidFill>
            <a:schemeClr val="tx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A4F801F7-948C-FC1B-BEAC-B82677BE9A00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4308475" y="2454275"/>
            <a:ext cx="465138" cy="98425"/>
          </a:xfrm>
          <a:prstGeom prst="rect">
            <a:avLst/>
          </a:prstGeom>
          <a:solidFill>
            <a:schemeClr val="tx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76" name="Rectangle 375">
            <a:extLst>
              <a:ext uri="{FF2B5EF4-FFF2-40B4-BE49-F238E27FC236}">
                <a16:creationId xmlns:a16="http://schemas.microsoft.com/office/drawing/2014/main" id="{533EDD8F-112C-20DC-3E20-501214F4DBEF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5145088" y="3981450"/>
            <a:ext cx="463550" cy="98425"/>
          </a:xfrm>
          <a:prstGeom prst="rect">
            <a:avLst/>
          </a:prstGeom>
          <a:solidFill>
            <a:schemeClr val="tx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92" name="Rectangle 391">
            <a:extLst>
              <a:ext uri="{FF2B5EF4-FFF2-40B4-BE49-F238E27FC236}">
                <a16:creationId xmlns:a16="http://schemas.microsoft.com/office/drawing/2014/main" id="{68B597B0-C8CE-E85E-3FF1-964A8CB15A5F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5608638" y="4451350"/>
            <a:ext cx="2876550" cy="98425"/>
          </a:xfrm>
          <a:prstGeom prst="rect">
            <a:avLst/>
          </a:prstGeom>
          <a:solidFill>
            <a:schemeClr val="tx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04" name="Rectangle 403">
            <a:extLst>
              <a:ext uri="{FF2B5EF4-FFF2-40B4-BE49-F238E27FC236}">
                <a16:creationId xmlns:a16="http://schemas.microsoft.com/office/drawing/2014/main" id="{E6526E15-BB7F-B2F1-8526-17E75093D81E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8485189" y="4921250"/>
            <a:ext cx="836613" cy="98425"/>
          </a:xfrm>
          <a:prstGeom prst="rect">
            <a:avLst/>
          </a:prstGeom>
          <a:solidFill>
            <a:schemeClr val="tx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30" name="Diamond 329">
            <a:extLst>
              <a:ext uri="{FF2B5EF4-FFF2-40B4-BE49-F238E27FC236}">
                <a16:creationId xmlns:a16="http://schemas.microsoft.com/office/drawing/2014/main" id="{3EA5DD14-062D-C836-F6F5-CF571603E8F4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4159250" y="1978025"/>
            <a:ext cx="114300" cy="1143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69" name="Diamond 368">
            <a:extLst>
              <a:ext uri="{FF2B5EF4-FFF2-40B4-BE49-F238E27FC236}">
                <a16:creationId xmlns:a16="http://schemas.microsoft.com/office/drawing/2014/main" id="{377C9673-A63E-9F73-36D5-87B34459C0F6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5551488" y="3973513"/>
            <a:ext cx="114300" cy="1143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5" name="Diamond 254">
            <a:extLst>
              <a:ext uri="{FF2B5EF4-FFF2-40B4-BE49-F238E27FC236}">
                <a16:creationId xmlns:a16="http://schemas.microsoft.com/office/drawing/2014/main" id="{D6364DA5-FC97-682F-5797-ECBF607DAB75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9264650" y="5381625"/>
            <a:ext cx="114300" cy="1143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61" name="Diamond 360">
            <a:extLst>
              <a:ext uri="{FF2B5EF4-FFF2-40B4-BE49-F238E27FC236}">
                <a16:creationId xmlns:a16="http://schemas.microsoft.com/office/drawing/2014/main" id="{818534D4-D849-22FA-CCCC-187C9DA53381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5087938" y="3340100"/>
            <a:ext cx="114300" cy="1143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49" name="Text Placeholder 2">
            <a:extLst>
              <a:ext uri="{FF2B5EF4-FFF2-40B4-BE49-F238E27FC236}">
                <a16:creationId xmlns:a16="http://schemas.microsoft.com/office/drawing/2014/main" id="{F2559DFB-1BB8-DB91-0628-999EFB45A212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9474200" y="2855913"/>
            <a:ext cx="16414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/>
              <a:t>Research into prioritised 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/>
              <a:t>components of solution</a:t>
            </a:r>
          </a:p>
        </p:txBody>
      </p:sp>
      <p:sp>
        <p:nvSpPr>
          <p:cNvPr id="359" name="Text Placeholder 2">
            <a:extLst>
              <a:ext uri="{FF2B5EF4-FFF2-40B4-BE49-F238E27FC236}">
                <a16:creationId xmlns:a16="http://schemas.microsoft.com/office/drawing/2014/main" id="{CD52D676-2913-317A-E1B8-97BB3D4FDBBB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4768850" y="3476625"/>
            <a:ext cx="752475" cy="16510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0A0A106-78D3-4CD3-81CC-B5497AACB621}" type="datetime'''''1''''6''''''/0''''''''''''''8''''/''''''2''0''24'''">
              <a:rPr lang="en-AU" altLang="en-US" sz="1200" smtClean="0">
                <a:solidFill>
                  <a:schemeClr val="bg1"/>
                </a:solidFill>
                <a:effectLst/>
              </a:rPr>
              <a:pPr/>
              <a:t>16/08/2024</a:t>
            </a:fld>
            <a:endParaRPr lang="en-AU" sz="1200" dirty="0">
              <a:solidFill>
                <a:schemeClr val="bg1"/>
              </a:solidFill>
            </a:endParaRPr>
          </a:p>
        </p:txBody>
      </p:sp>
      <p:sp>
        <p:nvSpPr>
          <p:cNvPr id="333" name="Text Placeholder 2">
            <a:extLst>
              <a:ext uri="{FF2B5EF4-FFF2-40B4-BE49-F238E27FC236}">
                <a16:creationId xmlns:a16="http://schemas.microsoft.com/office/drawing/2014/main" id="{EB23B09F-DE8A-A99B-A655-BC3D7C4DA256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8470900" y="5356225"/>
            <a:ext cx="752475" cy="16510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9EAE99D-3802-4E94-B03B-43E570B57573}" type="datetime'''''1''''''8''''/1''0''''/''''''''''20''''2''4'''''''''''">
              <a:rPr lang="en-AU" altLang="en-US" sz="1200" smtClean="0">
                <a:solidFill>
                  <a:schemeClr val="bg1"/>
                </a:solidFill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8/10/2024</a:t>
            </a:fld>
            <a:endParaRPr lang="en-AU" sz="1200" dirty="0">
              <a:solidFill>
                <a:schemeClr val="bg1"/>
              </a:solidFill>
            </a:endParaRPr>
          </a:p>
        </p:txBody>
      </p:sp>
      <p:sp>
        <p:nvSpPr>
          <p:cNvPr id="258" name="Text Placeholder 2">
            <a:extLst>
              <a:ext uri="{FF2B5EF4-FFF2-40B4-BE49-F238E27FC236}">
                <a16:creationId xmlns:a16="http://schemas.microsoft.com/office/drawing/2014/main" id="{6058E270-D03D-243F-779B-506488D20A3A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808038" y="5367338"/>
            <a:ext cx="179228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>
                <a:solidFill>
                  <a:schemeClr val="bg1"/>
                </a:solidFill>
              </a:rPr>
              <a:t>Final Demonstration,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>
                <a:solidFill>
                  <a:schemeClr val="bg1"/>
                </a:solidFill>
              </a:rPr>
              <a:t>Presentation and Handover</a:t>
            </a:r>
          </a:p>
        </p:txBody>
      </p:sp>
      <p:sp>
        <p:nvSpPr>
          <p:cNvPr id="249" name="Text Placeholder 2">
            <a:extLst>
              <a:ext uri="{FF2B5EF4-FFF2-40B4-BE49-F238E27FC236}">
                <a16:creationId xmlns:a16="http://schemas.microsoft.com/office/drawing/2014/main" id="{EB23B09F-DE8A-A99B-A655-BC3D7C4DA256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08038" y="1708150"/>
            <a:ext cx="5191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42271B1-247D-487F-9A7E-5F9DC9B34E02}" type="datetime'A''''c''''''''''''''t''i''''''vi''''t''''''''''''y'''''">
              <a:rPr lang="en-AU" altLang="en-US" sz="12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AU" sz="1200" b="1" dirty="0"/>
          </a:p>
        </p:txBody>
      </p:sp>
      <p:sp>
        <p:nvSpPr>
          <p:cNvPr id="252" name="Text Placeholder 2">
            <a:extLst>
              <a:ext uri="{FF2B5EF4-FFF2-40B4-BE49-F238E27FC236}">
                <a16:creationId xmlns:a16="http://schemas.microsoft.com/office/drawing/2014/main" id="{EB23B09F-DE8A-A99B-A655-BC3D7C4DA256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9474200" y="1708150"/>
            <a:ext cx="536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11AB5DA-3162-4AC1-A9C0-22331FF5F876}" type="datetime'''R''e''''m''''''a''''''''''''''''''r''''''''''''''k'">
              <a:rPr lang="en-AU" altLang="en-US" sz="12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emark</a:t>
            </a:fld>
            <a:endParaRPr lang="en-AU" sz="1200" b="1" dirty="0"/>
          </a:p>
        </p:txBody>
      </p:sp>
      <p:sp useBgFill="1">
        <p:nvSpPr>
          <p:cNvPr id="367" name="Text Placeholder 2">
            <a:extLst>
              <a:ext uri="{FF2B5EF4-FFF2-40B4-BE49-F238E27FC236}">
                <a16:creationId xmlns:a16="http://schemas.microsoft.com/office/drawing/2014/main" id="{51B03901-9056-1B22-983C-423A216E14DF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5707063" y="3948113"/>
            <a:ext cx="752475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9A893B0-1DEC-483D-B546-E82D9DFC23F8}" type="datetime'2''''''''''''''''''3''/''08''''/''2''''''0''''2''4'''''''">
              <a:rPr lang="en-AU" altLang="en-US" sz="1200" smtClean="0">
                <a:effectLst/>
              </a:rPr>
              <a:pPr/>
              <a:t>23/08/2024</a:t>
            </a:fld>
            <a:endParaRPr lang="en-AU" sz="1200" dirty="0"/>
          </a:p>
        </p:txBody>
      </p:sp>
      <p:sp>
        <p:nvSpPr>
          <p:cNvPr id="233" name="Text Placeholder 2">
            <a:extLst>
              <a:ext uri="{FF2B5EF4-FFF2-40B4-BE49-F238E27FC236}">
                <a16:creationId xmlns:a16="http://schemas.microsoft.com/office/drawing/2014/main" id="{EB23B09F-DE8A-A99B-A655-BC3D7C4DA256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3768725" y="1708150"/>
            <a:ext cx="3873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34A75EB-3EE5-4C9E-A23A-544D6B288E71}" type="datetime'''''W''''''''e''''''''''''''''''''''''''''''e''''''''k'">
              <a:rPr lang="en-AU" altLang="en-US" sz="1200" b="1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eek</a:t>
            </a:fld>
            <a:endParaRPr lang="en-AU" sz="1200" b="1" dirty="0"/>
          </a:p>
        </p:txBody>
      </p:sp>
      <p:sp>
        <p:nvSpPr>
          <p:cNvPr id="388" name="Text Placeholder 2">
            <a:extLst>
              <a:ext uri="{FF2B5EF4-FFF2-40B4-BE49-F238E27FC236}">
                <a16:creationId xmlns:a16="http://schemas.microsoft.com/office/drawing/2014/main" id="{8458E97D-D638-1C16-B02A-E8E99EAADD3F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9474200" y="3959225"/>
            <a:ext cx="143668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/>
              <a:t>Submission of Project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/>
              <a:t>Specifications Report</a:t>
            </a:r>
          </a:p>
        </p:txBody>
      </p:sp>
      <p:sp useBgFill="1">
        <p:nvSpPr>
          <p:cNvPr id="374" name="Text Placeholder 2">
            <a:extLst>
              <a:ext uri="{FF2B5EF4-FFF2-40B4-BE49-F238E27FC236}">
                <a16:creationId xmlns:a16="http://schemas.microsoft.com/office/drawing/2014/main" id="{B1884E97-FBFD-3EC5-99A2-6AC94AE1DC93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3487738" y="3948113"/>
            <a:ext cx="1620838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1F2C49E-E8E4-4358-830D-32B47C721A67}" type="datetime'''''''1''''''''6''/''''''''''08/20''''''''''''''''''2''4'''''">
              <a:rPr lang="en-AU" altLang="en-US" sz="1200" smtClean="0">
                <a:effectLst/>
              </a:rPr>
              <a:pPr/>
              <a:t>16/08/2024</a:t>
            </a:fld>
            <a:r>
              <a:rPr lang="en-AU" altLang="en-US" sz="1200">
                <a:effectLst/>
              </a:rPr>
              <a:t> - </a:t>
            </a:r>
            <a:fld id="{1F798076-FB18-4F44-9C24-AC623ABCB662}" type="datetime'22''''''''''''''/''08''/''2''''0''''2''''''''4'''''''''''''''">
              <a:rPr lang="en-AU" altLang="en-US" sz="1200" smtClean="0">
                <a:effectLst/>
              </a:rPr>
              <a:pPr/>
              <a:t>22/08/2024</a:t>
            </a:fld>
            <a:endParaRPr lang="en-AU" sz="1200" dirty="0"/>
          </a:p>
        </p:txBody>
      </p:sp>
      <p:sp>
        <p:nvSpPr>
          <p:cNvPr id="331" name="Text Placeholder 2">
            <a:extLst>
              <a:ext uri="{FF2B5EF4-FFF2-40B4-BE49-F238E27FC236}">
                <a16:creationId xmlns:a16="http://schemas.microsoft.com/office/drawing/2014/main" id="{EB23B09F-DE8A-A99B-A655-BC3D7C4DA256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3881438" y="2114550"/>
            <a:ext cx="671513" cy="16510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14C8FC4-FB1B-4B40-82F5-786913E78259}" type="datetime'2''/''0''''''''8''''''''''''''''''/20''''''2''''''''''4'">
              <a:rPr lang="en-AU" altLang="en-US" sz="1200" smtClean="0">
                <a:solidFill>
                  <a:schemeClr val="bg1"/>
                </a:solidFill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/08/2024</a:t>
            </a:fld>
            <a:endParaRPr lang="en-AU" sz="1200" dirty="0">
              <a:solidFill>
                <a:schemeClr val="bg1"/>
              </a:solidFill>
            </a:endParaRPr>
          </a:p>
        </p:txBody>
      </p:sp>
      <p:sp useBgFill="1">
        <p:nvSpPr>
          <p:cNvPr id="390" name="Text Placeholder 2">
            <a:extLst>
              <a:ext uri="{FF2B5EF4-FFF2-40B4-BE49-F238E27FC236}">
                <a16:creationId xmlns:a16="http://schemas.microsoft.com/office/drawing/2014/main" id="{2AC18008-EE0A-9C29-D202-BD9481885849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6276975" y="4567238"/>
            <a:ext cx="1539875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F98ABCF-FD17-45C3-94C7-A9FDD9301ECF}" type="datetime'''''23/''0''''''''''8''/''''2''''''024'''''''''''''''''''''''">
              <a:rPr lang="en-AU" altLang="en-US" sz="1200" smtClean="0">
                <a:effectLst/>
              </a:rPr>
              <a:pPr/>
              <a:t>23/08/2024</a:t>
            </a:fld>
            <a:r>
              <a:rPr lang="en-AU" altLang="en-US" sz="1200">
                <a:effectLst/>
              </a:rPr>
              <a:t> - </a:t>
            </a:r>
            <a:fld id="{5F17315F-101A-423D-8698-18D173E96735}" type="datetime'''''''4''''''''''''/1''''0''''/''''''''''2''''''''024'''''''">
              <a:rPr lang="en-AU" altLang="en-US" sz="1200" smtClean="0">
                <a:effectLst/>
              </a:rPr>
              <a:pPr/>
              <a:t>4/10/2024</a:t>
            </a:fld>
            <a:endParaRPr lang="en-AU" sz="1200" dirty="0"/>
          </a:p>
        </p:txBody>
      </p:sp>
      <p:sp>
        <p:nvSpPr>
          <p:cNvPr id="256" name="Text Placeholder 2">
            <a:extLst>
              <a:ext uri="{FF2B5EF4-FFF2-40B4-BE49-F238E27FC236}">
                <a16:creationId xmlns:a16="http://schemas.microsoft.com/office/drawing/2014/main" id="{EB23B09F-DE8A-A99B-A655-BC3D7C4DA256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808037" y="1963738"/>
            <a:ext cx="13525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>
                <a:solidFill>
                  <a:schemeClr val="bg1"/>
                </a:solidFill>
              </a:rPr>
              <a:t>Initial Client Meeting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AU" sz="1200" dirty="0">
              <a:solidFill>
                <a:schemeClr val="bg1"/>
              </a:solidFill>
            </a:endParaRPr>
          </a:p>
        </p:txBody>
      </p:sp>
      <p:sp>
        <p:nvSpPr>
          <p:cNvPr id="386" name="Text Placeholder 2">
            <a:extLst>
              <a:ext uri="{FF2B5EF4-FFF2-40B4-BE49-F238E27FC236}">
                <a16:creationId xmlns:a16="http://schemas.microsoft.com/office/drawing/2014/main" id="{0B374661-E6A5-150B-CA85-6404E3E4E7EB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808038" y="4429125"/>
            <a:ext cx="16097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/>
              <a:t>Iterative Development of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/>
              <a:t>Solution Components</a:t>
            </a:r>
            <a:endParaRPr lang="en-AU" sz="1200" dirty="0"/>
          </a:p>
        </p:txBody>
      </p:sp>
      <p:sp>
        <p:nvSpPr>
          <p:cNvPr id="394" name="Text Placeholder 2">
            <a:extLst>
              <a:ext uri="{FF2B5EF4-FFF2-40B4-BE49-F238E27FC236}">
                <a16:creationId xmlns:a16="http://schemas.microsoft.com/office/drawing/2014/main" id="{A166D0B3-7968-62E9-A8F0-029C4EA0D685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9474200" y="4429125"/>
            <a:ext cx="1417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/>
              <a:t>Implementation of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/>
              <a:t>Solution components</a:t>
            </a:r>
            <a:endParaRPr lang="en-AU" sz="1200" dirty="0"/>
          </a:p>
        </p:txBody>
      </p:sp>
      <p:sp>
        <p:nvSpPr>
          <p:cNvPr id="322" name="Text Placeholder 2">
            <a:extLst>
              <a:ext uri="{FF2B5EF4-FFF2-40B4-BE49-F238E27FC236}">
                <a16:creationId xmlns:a16="http://schemas.microsoft.com/office/drawing/2014/main" id="{EB23B09F-DE8A-A99B-A655-BC3D7C4DA256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9474200" y="1963738"/>
            <a:ext cx="9826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>
                <a:solidFill>
                  <a:schemeClr val="bg1"/>
                </a:solidFill>
              </a:rPr>
              <a:t>Project Kick off</a:t>
            </a:r>
          </a:p>
        </p:txBody>
      </p:sp>
      <p:sp>
        <p:nvSpPr>
          <p:cNvPr id="397" name="Text Placeholder 2">
            <a:extLst>
              <a:ext uri="{FF2B5EF4-FFF2-40B4-BE49-F238E27FC236}">
                <a16:creationId xmlns:a16="http://schemas.microsoft.com/office/drawing/2014/main" id="{283E5583-CFA3-59AB-9B4E-D799A4637DD4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808039" y="4899025"/>
            <a:ext cx="2295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/>
              <a:t>Documentation of Solution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/>
              <a:t>Components and Report Feedback</a:t>
            </a:r>
            <a:endParaRPr lang="en-AU" sz="1200" dirty="0"/>
          </a:p>
        </p:txBody>
      </p:sp>
      <p:sp>
        <p:nvSpPr>
          <p:cNvPr id="354" name="Text Placeholder 2">
            <a:extLst>
              <a:ext uri="{FF2B5EF4-FFF2-40B4-BE49-F238E27FC236}">
                <a16:creationId xmlns:a16="http://schemas.microsoft.com/office/drawing/2014/main" id="{53BFA3E3-8E27-D24F-8BE5-6A9C8BB8084E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808038" y="3959225"/>
            <a:ext cx="33480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/>
              <a:t>Feedback Implementation and                                          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/>
              <a:t>Project Specification Report</a:t>
            </a:r>
          </a:p>
        </p:txBody>
      </p:sp>
      <p:sp>
        <p:nvSpPr>
          <p:cNvPr id="320" name="Text Placeholder 2">
            <a:extLst>
              <a:ext uri="{FF2B5EF4-FFF2-40B4-BE49-F238E27FC236}">
                <a16:creationId xmlns:a16="http://schemas.microsoft.com/office/drawing/2014/main" id="{19503C27-313C-9C85-E03B-48952A641E8C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808038" y="2432050"/>
            <a:ext cx="19812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/>
              <a:t>Problem Scoping and Solution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/>
              <a:t>Components Prioritisation</a:t>
            </a:r>
            <a:endParaRPr lang="en-AU" sz="1200" dirty="0"/>
          </a:p>
        </p:txBody>
      </p:sp>
      <p:sp>
        <p:nvSpPr>
          <p:cNvPr id="347" name="Text Placeholder 2">
            <a:extLst>
              <a:ext uri="{FF2B5EF4-FFF2-40B4-BE49-F238E27FC236}">
                <a16:creationId xmlns:a16="http://schemas.microsoft.com/office/drawing/2014/main" id="{8D73134E-2939-71FD-9B12-41F4AEC300AD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9474200" y="2432050"/>
            <a:ext cx="216376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/>
              <a:t>Dependent upon time, resources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/>
              <a:t>and skills</a:t>
            </a:r>
            <a:endParaRPr lang="en-AU" sz="1200" dirty="0"/>
          </a:p>
        </p:txBody>
      </p:sp>
      <p:sp>
        <p:nvSpPr>
          <p:cNvPr id="357" name="Text Placeholder 2">
            <a:extLst>
              <a:ext uri="{FF2B5EF4-FFF2-40B4-BE49-F238E27FC236}">
                <a16:creationId xmlns:a16="http://schemas.microsoft.com/office/drawing/2014/main" id="{A02C3F50-559F-89FA-02B3-F7203CDB8715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9474200" y="3325813"/>
            <a:ext cx="21780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>
                <a:solidFill>
                  <a:schemeClr val="bg1"/>
                </a:solidFill>
              </a:rPr>
              <a:t>Development update with 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>
                <a:solidFill>
                  <a:schemeClr val="bg1"/>
                </a:solidFill>
              </a:rPr>
              <a:t>prototype of some functionalities</a:t>
            </a:r>
          </a:p>
        </p:txBody>
      </p:sp>
      <p:sp useBgFill="1">
        <p:nvSpPr>
          <p:cNvPr id="342" name="Text Placeholder 2">
            <a:extLst>
              <a:ext uri="{FF2B5EF4-FFF2-40B4-BE49-F238E27FC236}">
                <a16:creationId xmlns:a16="http://schemas.microsoft.com/office/drawing/2014/main" id="{61B231B0-38A6-A22C-983F-E04062FEEB0C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4149725" y="2994025"/>
            <a:ext cx="1620838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FB696FD-BD5C-44C0-ADF9-95299515D1AB}" type="datetime'12''/''''0''''''''8/''''2''''''''''''''''024'''''''''''''''''">
              <a:rPr lang="en-AU" altLang="en-US" sz="1200" smtClean="0">
                <a:effectLst/>
              </a:rPr>
              <a:pPr/>
              <a:t>12/08/2024</a:t>
            </a:fld>
            <a:r>
              <a:rPr lang="en-AU" altLang="en-US" sz="1200" dirty="0">
                <a:effectLst/>
              </a:rPr>
              <a:t> </a:t>
            </a:r>
            <a:r>
              <a:rPr lang="en-AU" altLang="en-US" sz="1200">
                <a:effectLst/>
              </a:rPr>
              <a:t>- </a:t>
            </a:r>
            <a:fld id="{E538B9F2-32C2-42B8-8C5C-F952C5162CAF}" type="datetime'1''''5''/''''08''/2''02''''''''''4'''''''">
              <a:rPr lang="en-AU" altLang="en-US" sz="1200" smtClean="0">
                <a:effectLst/>
              </a:rPr>
              <a:pPr/>
              <a:t>15/08/2024</a:t>
            </a:fld>
            <a:endParaRPr lang="en-AU" sz="1200" dirty="0"/>
          </a:p>
        </p:txBody>
      </p:sp>
      <p:sp>
        <p:nvSpPr>
          <p:cNvPr id="356" name="Text Placeholder 2">
            <a:extLst>
              <a:ext uri="{FF2B5EF4-FFF2-40B4-BE49-F238E27FC236}">
                <a16:creationId xmlns:a16="http://schemas.microsoft.com/office/drawing/2014/main" id="{15512E5E-E714-4269-801E-3A22F344DAAE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808039" y="3325813"/>
            <a:ext cx="201771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>
                <a:solidFill>
                  <a:schemeClr val="bg1"/>
                </a:solidFill>
              </a:rPr>
              <a:t>Initial Mock Up/Demonstration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>
                <a:solidFill>
                  <a:schemeClr val="bg1"/>
                </a:solidFill>
              </a:rPr>
              <a:t>and Feedback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AU" sz="1200" dirty="0">
              <a:solidFill>
                <a:schemeClr val="bg1"/>
              </a:solidFill>
            </a:endParaRPr>
          </a:p>
        </p:txBody>
      </p:sp>
      <p:sp useBgFill="1">
        <p:nvSpPr>
          <p:cNvPr id="335" name="Text Placeholder 2">
            <a:extLst>
              <a:ext uri="{FF2B5EF4-FFF2-40B4-BE49-F238E27FC236}">
                <a16:creationId xmlns:a16="http://schemas.microsoft.com/office/drawing/2014/main" id="{EB23B09F-DE8A-A99B-A655-BC3D7C4DA256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3811588" y="2570163"/>
            <a:ext cx="1458913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B9124CD-EA99-458E-863D-8A3B410DF8EF}" type="datetime'''''''''5''''''/''''''''''08/2''''''''''0''''''''''2''''''4'">
              <a:rPr lang="en-AU" altLang="en-US" sz="12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5/08/2024</a:t>
            </a:fld>
            <a:r>
              <a:rPr lang="en-AU" altLang="en-US" sz="1200">
                <a:effectLst/>
              </a:rPr>
              <a:t> - </a:t>
            </a:r>
            <a:fld id="{E04C3E68-470F-4BDF-A19A-320130F9FC91}" type="datetime'''9''''''''''''''''/''''''''''''''0''''8''/2''''0''''''''''24'">
              <a:rPr lang="en-AU" altLang="en-US" sz="12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9/08/2024</a:t>
            </a:fld>
            <a:endParaRPr lang="en-AU" sz="1200" dirty="0"/>
          </a:p>
        </p:txBody>
      </p:sp>
      <p:sp useBgFill="1">
        <p:nvSpPr>
          <p:cNvPr id="402" name="Text Placeholder 2">
            <a:extLst>
              <a:ext uri="{FF2B5EF4-FFF2-40B4-BE49-F238E27FC236}">
                <a16:creationId xmlns:a16="http://schemas.microsoft.com/office/drawing/2014/main" id="{E2EF3B0D-E5B3-90DD-009A-D07C207BAAAE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6908800" y="4887913"/>
            <a:ext cx="1539875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7652B1E-836D-48DC-8A03-CD6AB7C3B78E}" type="datetime'7/''''''''''''''''''''10''/2''''''0''''''''''''''2''''4'">
              <a:rPr lang="en-AU" altLang="en-US" sz="1200" smtClean="0">
                <a:effectLst/>
              </a:rPr>
              <a:pPr/>
              <a:t>7/10/2024</a:t>
            </a:fld>
            <a:r>
              <a:rPr lang="en-AU" altLang="en-US" sz="1200" dirty="0">
                <a:effectLst/>
              </a:rPr>
              <a:t> - </a:t>
            </a:r>
            <a:fld id="{089EA35E-7FAE-4E39-BC00-F9111D4C275F}" type="datetime'''1''''7/''1''''0/''''''20''''''''2''''''4'''''''''''''''''">
              <a:rPr lang="en-AU" altLang="en-US" sz="1200" smtClean="0">
                <a:effectLst/>
              </a:rPr>
              <a:pPr/>
              <a:t>17/10/2024</a:t>
            </a:fld>
            <a:endParaRPr lang="en-AU" sz="1200" dirty="0"/>
          </a:p>
        </p:txBody>
      </p:sp>
      <p:sp>
        <p:nvSpPr>
          <p:cNvPr id="340" name="Text Placeholder 2">
            <a:extLst>
              <a:ext uri="{FF2B5EF4-FFF2-40B4-BE49-F238E27FC236}">
                <a16:creationId xmlns:a16="http://schemas.microsoft.com/office/drawing/2014/main" id="{E7EFEC11-73F6-ED99-EE38-E0837305C124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808038" y="2855913"/>
            <a:ext cx="20955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/>
              <a:t>Solution Components Research</a:t>
            </a:r>
          </a:p>
        </p:txBody>
      </p:sp>
      <p:sp>
        <p:nvSpPr>
          <p:cNvPr id="408" name="Text Placeholder 2">
            <a:extLst>
              <a:ext uri="{FF2B5EF4-FFF2-40B4-BE49-F238E27FC236}">
                <a16:creationId xmlns:a16="http://schemas.microsoft.com/office/drawing/2014/main" id="{CF6033E8-B9DA-83D7-1408-F1EA59215A99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9474200" y="4899025"/>
            <a:ext cx="152241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/>
              <a:t>Documentation and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/>
              <a:t>Identifying Future Work</a:t>
            </a:r>
          </a:p>
        </p:txBody>
      </p:sp>
      <p:sp>
        <p:nvSpPr>
          <p:cNvPr id="410" name="Text Placeholder 2">
            <a:extLst>
              <a:ext uri="{FF2B5EF4-FFF2-40B4-BE49-F238E27FC236}">
                <a16:creationId xmlns:a16="http://schemas.microsoft.com/office/drawing/2014/main" id="{8EE033E6-680B-9A09-0F12-790AE10E4186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9474200" y="5367338"/>
            <a:ext cx="13462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>
                <a:solidFill>
                  <a:schemeClr val="bg1"/>
                </a:solidFill>
              </a:rPr>
              <a:t>Final MVP, Feedback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>
                <a:solidFill>
                  <a:schemeClr val="bg1"/>
                </a:solidFill>
              </a:rPr>
              <a:t> and Handover</a:t>
            </a:r>
            <a:endParaRPr lang="en-AU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9815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52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bNumberIsYear val=&quot;0&quot;/&gt;&lt;m_strFormatTime&gt;%B&lt;/m_strFormatTime&gt;&lt;m_yearfmt&gt;&lt;begin val=&quot;4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dtE_GcZS.fMcy3tZARH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CWat2_dDD19OKfDqSl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BeVfJv2MnVwwzdVLDK0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H4VyfjBR5ITbNo0i3J1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WToKHZbaMckz6O6IEO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xUirFKBxl1YX4myoke8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osLkRmia6KjFhaYVg8r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mK4q62ucdjBzSsQnUq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Q3bO8RDhKhT42TRaXG.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PY0fq1aW2ZO9qe6Cn7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DrMTurA58PAeFpUHYR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0Q.mjTOeyVpw22MfQ.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hTjOnOnQ1PQJ1TgEczX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a064D_ZipLkdrQNoFnn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58.jFV8Quj4tTMcn4Q.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1yyOp7YKaA4_ReBcgdN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TDBpkaVxh30GbGCiBS9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_n5Fdw2V_K4TZUqe.j.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jOMFjF87qldN8sJyxlz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ar3cdcxgDFXulk8NVf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ZQp0gg6g.uTzvK5.T91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IrO6bhea_3rbdOLMIB2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ZmkHanPZrtfsU56qYS.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pVO8uqlti7611MNAIQR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4GHYbkpyJGEvSIZi9PUP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Pz57WeRE2R6f1OJMGOG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YfdEdSaFN.Jzcl_q8X3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o65UKyMkSvsBctvQDpp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NKDbRkU7r8y4HHFbgyd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DxBycrMPw1.JQDulMf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jHba_K_pwk7hfbRi4Vb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pIlZg3Ik79.579Zbtor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xWyYEwD674OropMpe4o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S9o_Hc588jKsQAWVIVi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PDYXOoOwYanBzhRnyFe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xztDX24Ypky68dESmMG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U2ZMZ4VEGBdn9JI9E6z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osyRvHSMAcTw1NZVcij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IH0aaYCDkeHjsHdWQcM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f8Gox0KYz49D3EE73xG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WWRR2BeA_rRrNBLiM8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UFeJsDH.DM20fnnPajr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RD8gVqXeYZJHCAepR5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XNEAf6qF5UstOoyiu_s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lYTEDEjogP_DWhx8A8i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v824h4KIx1Ix3NPGpEE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bcW0wxXtPGgkvbJQ5mW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2lFHrdCCN.kB8OYt_Hf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UEb0cOsk.cEK5QRrrP6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3.gzF9tmNo16udURsSR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.ESB0VcImURg3XVjUJo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JRCTOUwDkt8MwYyIux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7PJ7b84MsWeqm3EbCW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QPnb4Hfhw0E9CcoRwGE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pzbN64XaByji511f1z4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pJ1TC225L3BYPQ3NeD4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IxBOndt369bYbNoHGVQ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eFOZ0uFmAAHJ._mcJKq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KbzJTF58HicS5cUioT4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ZtHH9LT2iNlaGpc50a6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JFVRXTx_TKbsWFXKtZP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Wbdk_2v389.lUFtP9rF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myHXTbtwkMW5z8zjEr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a8UX0QtRI70phbASSK7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rTnN4ZmN_Izpa2aXa0V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AMOn7N5aI9d5tVlUp6S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nYsL84NsZts8UrXxUCb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h5bwWP.JaYjGCZ2UbWq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dqbmB8hmr_nlt.6FW.e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rxezDCXeIkg0syaZ_u8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5C4R3nnM.MkD14T3HJO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ZxD4_Fg0Umglvto6DaL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4jb7olSbgcWARwKhqqj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p3yT2ljJVcg4WCpE1H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c6E7adKjHjjN1TeO0H8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1gkApWHa5JWnTwrrOu3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8</TotalTime>
  <Words>125</Words>
  <Application>Microsoft Office PowerPoint</Application>
  <PresentationFormat>Widescreen</PresentationFormat>
  <Paragraphs>5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Aptos Display</vt:lpstr>
      <vt:lpstr>Arial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Timeline</dc:title>
  <dc:creator>Asad Maza</dc:creator>
  <cp:lastModifiedBy>Asad Maza</cp:lastModifiedBy>
  <cp:revision>2</cp:revision>
  <dcterms:created xsi:type="dcterms:W3CDTF">2024-08-07T01:53:09Z</dcterms:created>
  <dcterms:modified xsi:type="dcterms:W3CDTF">2024-08-07T05:07:05Z</dcterms:modified>
</cp:coreProperties>
</file>